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5A5A5A"/>
    <a:srgbClr val="F6F6F6"/>
    <a:srgbClr val="C60018"/>
    <a:srgbClr val="8D8D8D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34999592-F983-4186-A124-982B21D06535}"/>
    <pc:docChg chg="modSld">
      <pc:chgData name="Weigel Stefan (PAR-EPS)" userId="fd3b2067-2981-4ad8-bf3a-d2e1004e4fa8" providerId="ADAL" clId="{34999592-F983-4186-A124-982B21D06535}" dt="2024-04-11T13:59:31.665" v="9" actId="692"/>
      <pc:docMkLst>
        <pc:docMk/>
      </pc:docMkLst>
      <pc:sldChg chg="modSp mod setBg">
        <pc:chgData name="Weigel Stefan (PAR-EPS)" userId="fd3b2067-2981-4ad8-bf3a-d2e1004e4fa8" providerId="ADAL" clId="{34999592-F983-4186-A124-982B21D06535}" dt="2024-04-11T13:59:31.665" v="9" actId="692"/>
        <pc:sldMkLst>
          <pc:docMk/>
          <pc:sldMk cId="3808035539" sldId="270"/>
        </pc:sldMkLst>
        <pc:spChg chg="mod">
          <ac:chgData name="Weigel Stefan (PAR-EPS)" userId="fd3b2067-2981-4ad8-bf3a-d2e1004e4fa8" providerId="ADAL" clId="{34999592-F983-4186-A124-982B21D06535}" dt="2024-04-11T13:58:55.385" v="6" actId="255"/>
          <ac:spMkLst>
            <pc:docMk/>
            <pc:sldMk cId="3808035539" sldId="270"/>
            <ac:spMk id="12" creationId="{5951AA1F-1F78-4199-A377-9885C86C21AF}"/>
          </ac:spMkLst>
        </pc:spChg>
        <pc:spChg chg="mod">
          <ac:chgData name="Weigel Stefan (PAR-EPS)" userId="fd3b2067-2981-4ad8-bf3a-d2e1004e4fa8" providerId="ADAL" clId="{34999592-F983-4186-A124-982B21D06535}" dt="2024-04-11T13:58:50.864" v="5" actId="25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Weigel Stefan (PAR-EPS)" userId="fd3b2067-2981-4ad8-bf3a-d2e1004e4fa8" providerId="ADAL" clId="{34999592-F983-4186-A124-982B21D06535}" dt="2024-04-11T13:59:31.665" v="9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42CDFD8D-70EE-43A8-8368-89F83C2C8598}"/>
    <pc:docChg chg="custSel modSld">
      <pc:chgData name="Weigel Stefan (PAR-EPS)" userId="fd3b2067-2981-4ad8-bf3a-d2e1004e4fa8" providerId="ADAL" clId="{42CDFD8D-70EE-43A8-8368-89F83C2C8598}" dt="2024-02-13T15:34:02.900" v="64" actId="207"/>
      <pc:docMkLst>
        <pc:docMk/>
      </pc:docMkLst>
      <pc:sldChg chg="modSp mod">
        <pc:chgData name="Weigel Stefan (PAR-EPS)" userId="fd3b2067-2981-4ad8-bf3a-d2e1004e4fa8" providerId="ADAL" clId="{42CDFD8D-70EE-43A8-8368-89F83C2C8598}" dt="2024-02-13T15:34:02.900" v="64" actId="207"/>
        <pc:sldMkLst>
          <pc:docMk/>
          <pc:sldMk cId="3808035539" sldId="270"/>
        </pc:sldMkLst>
        <pc:spChg chg="mod">
          <ac:chgData name="Weigel Stefan (PAR-EPS)" userId="fd3b2067-2981-4ad8-bf3a-d2e1004e4fa8" providerId="ADAL" clId="{42CDFD8D-70EE-43A8-8368-89F83C2C8598}" dt="2024-02-13T15:23:01.118" v="1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2CDFD8D-70EE-43A8-8368-89F83C2C8598}" dt="2024-02-13T15:25:48.929" v="59" actId="20577"/>
          <ac:spMkLst>
            <pc:docMk/>
            <pc:sldMk cId="3808035539" sldId="270"/>
            <ac:spMk id="11" creationId="{C872468D-648C-44F5-8DF7-75B41720E3E9}"/>
          </ac:spMkLst>
        </pc:spChg>
        <pc:spChg chg="mod">
          <ac:chgData name="Weigel Stefan (PAR-EPS)" userId="fd3b2067-2981-4ad8-bf3a-d2e1004e4fa8" providerId="ADAL" clId="{42CDFD8D-70EE-43A8-8368-89F83C2C8598}" dt="2024-02-13T15:22:35.077" v="11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42CDFD8D-70EE-43A8-8368-89F83C2C8598}" dt="2024-02-13T15:34:02.900" v="64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F547CA55-BF1B-4008-99B1-5133116669CA}"/>
    <pc:docChg chg="modSld">
      <pc:chgData name="Weigel Stefan (PAR-EPS)" userId="fd3b2067-2981-4ad8-bf3a-d2e1004e4fa8" providerId="ADAL" clId="{F547CA55-BF1B-4008-99B1-5133116669CA}" dt="2025-02-22T10:57:26.422" v="30" actId="27918"/>
      <pc:docMkLst>
        <pc:docMk/>
      </pc:docMkLst>
      <pc:sldChg chg="modSp mod">
        <pc:chgData name="Weigel Stefan (PAR-EPS)" userId="fd3b2067-2981-4ad8-bf3a-d2e1004e4fa8" providerId="ADAL" clId="{F547CA55-BF1B-4008-99B1-5133116669CA}" dt="2025-02-22T10:57:26.422" v="30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F547CA55-BF1B-4008-99B1-5133116669CA}" dt="2025-02-13T14:20:30.619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547CA55-BF1B-4008-99B1-5133116669CA}" dt="2025-02-13T14:20:39.483" v="20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2C0C9D6E-78AD-4D46-859F-B54131D02328}"/>
    <pc:docChg chg="modSld">
      <pc:chgData name="Weigel Stefan (PAR-EPS)" userId="fd3b2067-2981-4ad8-bf3a-d2e1004e4fa8" providerId="ADAL" clId="{2C0C9D6E-78AD-4D46-859F-B54131D02328}" dt="2024-02-28T14:00:43.598" v="3" actId="27918"/>
      <pc:docMkLst>
        <pc:docMk/>
      </pc:docMkLst>
      <pc:sldChg chg="mod">
        <pc:chgData name="Weigel Stefan (PAR-EPS)" userId="fd3b2067-2981-4ad8-bf3a-d2e1004e4fa8" providerId="ADAL" clId="{2C0C9D6E-78AD-4D46-859F-B54131D02328}" dt="2024-02-28T14:00:43.598" v="3" actId="27918"/>
        <pc:sldMkLst>
          <pc:docMk/>
          <pc:sldMk cId="3808035539" sldId="270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12T18:09:38.262" v="72" actId="27918"/>
      <pc:docMkLst>
        <pc:docMk/>
      </pc:docMkLst>
      <pc:sldChg chg="modSp mod">
        <pc:chgData name="Weigel Stefan (PAR-EPS)" userId="fd3b2067-2981-4ad8-bf3a-d2e1004e4fa8" providerId="ADAL" clId="{BF7BC7E7-8980-4DA8-AC52-BB8231A3306E}" dt="2024-02-12T18:09:38.262" v="72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8.1081081081081106</c:v>
                </c:pt>
                <c:pt idx="1">
                  <c:v>34.8486469141085</c:v>
                </c:pt>
                <c:pt idx="2">
                  <c:v>38.405027854834501</c:v>
                </c:pt>
                <c:pt idx="3">
                  <c:v>57.886728655959402</c:v>
                </c:pt>
                <c:pt idx="4">
                  <c:v>59.8352137767221</c:v>
                </c:pt>
                <c:pt idx="5">
                  <c:v>62.314726273009803</c:v>
                </c:pt>
                <c:pt idx="6">
                  <c:v>64.484738913112807</c:v>
                </c:pt>
                <c:pt idx="7">
                  <c:v>66.866892453191895</c:v>
                </c:pt>
                <c:pt idx="8">
                  <c:v>70.997994880299601</c:v>
                </c:pt>
                <c:pt idx="9">
                  <c:v>74.547846103255495</c:v>
                </c:pt>
                <c:pt idx="10">
                  <c:v>76.9040247678019</c:v>
                </c:pt>
                <c:pt idx="11">
                  <c:v>83.250927070457394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0949992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fication of networks in Europe 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50782441"/>
              </p:ext>
            </p:extLst>
          </p:nvPr>
        </p:nvGraphicFramePr>
        <p:xfrm>
          <a:off x="502919" y="1544169"/>
          <a:ext cx="10201593" cy="4266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hare of electrified lines as a proportion of an infrastructure manager’s total lines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, SNCF Réseau: 2022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9FCF0FB-B5E1-45E2-85F8-AB0C01E152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ctrification of networks in Europe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ification of networks in Europe in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